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28T12:03:11.414" v="75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28T12:03:11.414" v="75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13T15:48:02.866" v="69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4F3362D5-CD5D-4413-A7D9-C8F61AF67CA3}"/>
    <pc:docChg chg="modSld">
      <pc:chgData name="Weigel Stefan (PAR-EPS)" userId="fd3b2067-2981-4ad8-bf3a-d2e1004e4fa8" providerId="ADAL" clId="{4F3362D5-CD5D-4413-A7D9-C8F61AF67CA3}" dt="2025-02-24T10:04:14.722" v="10" actId="27918"/>
      <pc:docMkLst>
        <pc:docMk/>
      </pc:docMkLst>
      <pc:sldChg chg="modSp mod">
        <pc:chgData name="Weigel Stefan (PAR-EPS)" userId="fd3b2067-2981-4ad8-bf3a-d2e1004e4fa8" providerId="ADAL" clId="{4F3362D5-CD5D-4413-A7D9-C8F61AF67CA3}" dt="2025-02-24T10:04:14.722" v="10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4F3362D5-CD5D-4413-A7D9-C8F61AF67CA3}" dt="2025-02-14T18:13:20.861" v="1" actId="20577"/>
          <ac:spMkLst>
            <pc:docMk/>
            <pc:sldMk cId="3064315074" sldId="413"/>
            <ac:spMk id="2" creationId="{00000000-0000-0000-0000-000000000000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C3CD7D6-D248-4EDA-9AB6-57B82BF18537}"/>
    <pc:docChg chg="modSld">
      <pc:chgData name="Weigel Stefan (PAR-EPS)" userId="fd3b2067-2981-4ad8-bf3a-d2e1004e4fa8" providerId="ADAL" clId="{0C3CD7D6-D248-4EDA-9AB6-57B82BF18537}" dt="2024-04-25T07:31:02.929" v="27" actId="27918"/>
      <pc:docMkLst>
        <pc:docMk/>
      </pc:docMkLst>
      <pc:sldChg chg="modSp mod">
        <pc:chgData name="Weigel Stefan (PAR-EPS)" userId="fd3b2067-2981-4ad8-bf3a-d2e1004e4fa8" providerId="ADAL" clId="{0C3CD7D6-D248-4EDA-9AB6-57B82BF18537}" dt="2024-04-25T07:31:02.929" v="27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0C3CD7D6-D248-4EDA-9AB6-57B82BF18537}" dt="2024-04-25T07:28:22.618" v="24" actId="20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0C3CD7D6-D248-4EDA-9AB6-57B82BF18537}" dt="2024-04-25T07:28:16.744" v="22" actId="255"/>
          <ac:spMkLst>
            <pc:docMk/>
            <pc:sldMk cId="3064315074" sldId="413"/>
            <ac:spMk id="13" creationId="{CB2EBD8C-0882-42C3-B5F5-BA01B7BFF2C3}"/>
          </ac:spMkLst>
        </pc:spChg>
        <pc:graphicFrameChg chg="mod">
          <ac:chgData name="Weigel Stefan (PAR-EPS)" userId="fd3b2067-2981-4ad8-bf3a-d2e1004e4fa8" providerId="ADAL" clId="{0C3CD7D6-D248-4EDA-9AB6-57B82BF18537}" dt="2024-04-25T07:31:00.814" v="26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Reisezüge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CD93-4B29-9127-5E38DFA061D2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4295560048984708</c:v>
                </c:pt>
                <c:pt idx="1">
                  <c:v>16.1484037564122</c:v>
                </c:pt>
                <c:pt idx="2">
                  <c:v>16.719168403461101</c:v>
                </c:pt>
                <c:pt idx="3">
                  <c:v>30.709126671842998</c:v>
                </c:pt>
                <c:pt idx="4">
                  <c:v>27.4756380578043</c:v>
                </c:pt>
                <c:pt idx="5">
                  <c:v>34.804228683023702</c:v>
                </c:pt>
                <c:pt idx="6">
                  <c:v>41.654444032546202</c:v>
                </c:pt>
                <c:pt idx="7">
                  <c:v>51.305829158672204</c:v>
                </c:pt>
                <c:pt idx="8">
                  <c:v>63.044588939120999</c:v>
                </c:pt>
                <c:pt idx="9">
                  <c:v>69.926545475980703</c:v>
                </c:pt>
                <c:pt idx="10">
                  <c:v>68.871666369792294</c:v>
                </c:pt>
                <c:pt idx="11">
                  <c:v>127.374980292171</c:v>
                </c:pt>
                <c:pt idx="12">
                  <c:v>137.8666874542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Güterzüge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CD93-4B29-9127-5E38DFA061D2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6.96465696465697</c:v>
                </c:pt>
                <c:pt idx="1">
                  <c:v>5.8055327180722296</c:v>
                </c:pt>
                <c:pt idx="2">
                  <c:v>5.6141799856754799</c:v>
                </c:pt>
                <c:pt idx="3">
                  <c:v>4.3836666879672803</c:v>
                </c:pt>
                <c:pt idx="4">
                  <c:v>11.8222252006428</c:v>
                </c:pt>
                <c:pt idx="5">
                  <c:v>10.328157542713001</c:v>
                </c:pt>
                <c:pt idx="6">
                  <c:v>10.2719945141008</c:v>
                </c:pt>
                <c:pt idx="7">
                  <c:v>8.1897634329207101</c:v>
                </c:pt>
                <c:pt idx="8">
                  <c:v>6.9465499091667899</c:v>
                </c:pt>
                <c:pt idx="9">
                  <c:v>21.569365893914998</c:v>
                </c:pt>
                <c:pt idx="10">
                  <c:v>24.9223060124122</c:v>
                </c:pt>
                <c:pt idx="11">
                  <c:v>9.5943718946092904</c:v>
                </c:pt>
                <c:pt idx="12">
                  <c:v>23.05907038158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029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68024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Zugdich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belastung in Europa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96852034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Durchschnittliche Anzahl Züge pro Strecke und Tag auf der Eisenbahninfrastruktur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CD86D86-EA9D-4A6C-9813-7EC9364BE1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reckennetzbelastung in Europa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belastung in Europa im 2023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